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1C552C-46A0-8160-2428-04A093BFF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19B6E01-D42B-87B8-5614-488EC7042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B6E01-D42B-87B8-5614-488EC7042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BC0004-85E7-980B-2BA0-E58B5D49C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3A04990-54C0-FA25-4B4D-A24D6DC6042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A3E7969-603C-EA61-9ADA-BAFBC40DEC56}"/>
              </a:ext>
            </a:extLst>
          </p:cNvPr>
          <p:cNvSpPr/>
          <p:nvPr/>
        </p:nvSpPr>
        <p:spPr>
          <a:xfrm>
            <a:off x="991541" y="127984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1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A14AA5-E9F3-CDCA-197E-7AA84CEACBBF}"/>
              </a:ext>
            </a:extLst>
          </p:cNvPr>
          <p:cNvSpPr/>
          <p:nvPr/>
        </p:nvSpPr>
        <p:spPr>
          <a:xfrm>
            <a:off x="10466662" y="142318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375C1A-1C1A-FFE3-BD2C-6A1220CEF581}"/>
              </a:ext>
            </a:extLst>
          </p:cNvPr>
          <p:cNvSpPr/>
          <p:nvPr/>
        </p:nvSpPr>
        <p:spPr>
          <a:xfrm>
            <a:off x="1215551" y="1598601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4F9D117-C159-B7D6-E506-2521CDCDA6C0}"/>
              </a:ext>
            </a:extLst>
          </p:cNvPr>
          <p:cNvSpPr/>
          <p:nvPr/>
        </p:nvSpPr>
        <p:spPr>
          <a:xfrm>
            <a:off x="991541" y="253904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2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7A903B0-BCBE-BE1A-4633-804F8C1F666B}"/>
              </a:ext>
            </a:extLst>
          </p:cNvPr>
          <p:cNvSpPr/>
          <p:nvPr/>
        </p:nvSpPr>
        <p:spPr>
          <a:xfrm>
            <a:off x="10466662" y="2681237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7EECB8-7EBE-1943-813E-A4707C779622}"/>
              </a:ext>
            </a:extLst>
          </p:cNvPr>
          <p:cNvSpPr/>
          <p:nvPr/>
        </p:nvSpPr>
        <p:spPr>
          <a:xfrm>
            <a:off x="1215551" y="285780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77D8D5-4306-4B77-702F-DFC7ADF0DD84}"/>
              </a:ext>
            </a:extLst>
          </p:cNvPr>
          <p:cNvSpPr/>
          <p:nvPr/>
        </p:nvSpPr>
        <p:spPr>
          <a:xfrm>
            <a:off x="991541" y="3798250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4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1F24807-8CCE-94DB-5D8B-4A500B37F75B}"/>
              </a:ext>
            </a:extLst>
          </p:cNvPr>
          <p:cNvSpPr/>
          <p:nvPr/>
        </p:nvSpPr>
        <p:spPr>
          <a:xfrm>
            <a:off x="10466662" y="3979771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4"/>
                </a:solidFill>
              </a:rPr>
              <a:t>0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28AA05-2B77-0167-884C-F2E388DF6753}"/>
              </a:ext>
            </a:extLst>
          </p:cNvPr>
          <p:cNvSpPr/>
          <p:nvPr/>
        </p:nvSpPr>
        <p:spPr>
          <a:xfrm>
            <a:off x="1215551" y="4117012"/>
            <a:ext cx="9064046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0AAB10C-1FEC-5703-1ED1-E8274F0B049D}"/>
              </a:ext>
            </a:extLst>
          </p:cNvPr>
          <p:cNvSpPr/>
          <p:nvPr/>
        </p:nvSpPr>
        <p:spPr>
          <a:xfrm>
            <a:off x="991541" y="5057455"/>
            <a:ext cx="10208919" cy="981205"/>
          </a:xfrm>
          <a:custGeom>
            <a:avLst/>
            <a:gdLst>
              <a:gd name="connsiteX0" fmla="*/ 838200 w 4441372"/>
              <a:gd name="connsiteY0" fmla="*/ 0 h 870858"/>
              <a:gd name="connsiteX1" fmla="*/ 0 w 4441372"/>
              <a:gd name="connsiteY1" fmla="*/ 0 h 870858"/>
              <a:gd name="connsiteX2" fmla="*/ 0 w 4441372"/>
              <a:gd name="connsiteY2" fmla="*/ 870858 h 870858"/>
              <a:gd name="connsiteX3" fmla="*/ 4441372 w 4441372"/>
              <a:gd name="connsiteY3" fmla="*/ 870858 h 87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1372" h="870858">
                <a:moveTo>
                  <a:pt x="838200" y="0"/>
                </a:moveTo>
                <a:lnTo>
                  <a:pt x="0" y="0"/>
                </a:lnTo>
                <a:lnTo>
                  <a:pt x="0" y="870858"/>
                </a:lnTo>
                <a:lnTo>
                  <a:pt x="4441372" y="870858"/>
                </a:lnTo>
              </a:path>
            </a:pathLst>
          </a:custGeom>
          <a:noFill/>
          <a:ln w="3175">
            <a:solidFill>
              <a:schemeClr val="accent5"/>
            </a:solidFill>
            <a:headEnd type="oval"/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5E3A83-B9BD-32E9-6B52-0E9F8BEE921B}"/>
              </a:ext>
            </a:extLst>
          </p:cNvPr>
          <p:cNvSpPr/>
          <p:nvPr/>
        </p:nvSpPr>
        <p:spPr>
          <a:xfrm>
            <a:off x="10466662" y="5238976"/>
            <a:ext cx="664070" cy="66404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  <a:effectLst>
            <a:outerShdw blurRad="50800" dist="38100" algn="l" rotWithShape="0">
              <a:schemeClr val="bg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</a:rPr>
              <a:t>0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655B1D-817A-0B10-DB58-7A2D5D56E4E1}"/>
              </a:ext>
            </a:extLst>
          </p:cNvPr>
          <p:cNvSpPr/>
          <p:nvPr/>
        </p:nvSpPr>
        <p:spPr>
          <a:xfrm>
            <a:off x="1215551" y="5376217"/>
            <a:ext cx="90640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96739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Next Ste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39</cp:revision>
  <dcterms:created xsi:type="dcterms:W3CDTF">2021-03-31T02:49:57Z</dcterms:created>
  <dcterms:modified xsi:type="dcterms:W3CDTF">2025-10-16T11:37:46Z</dcterms:modified>
  <cp:category/>
</cp:coreProperties>
</file>